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mp4" ContentType="video/mp4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"/>
  </p:notesMasterIdLst>
  <p:sldIdLst>
    <p:sldId id="616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FD4443E-F989-4FC4-A0C8-D5A2AF1F390B}" styleName="Dark Style 1 - Accent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923"/>
    <p:restoredTop sz="76503"/>
  </p:normalViewPr>
  <p:slideViewPr>
    <p:cSldViewPr snapToGrid="0" snapToObjects="1">
      <p:cViewPr varScale="1">
        <p:scale>
          <a:sx n="82" d="100"/>
          <a:sy n="82" d="100"/>
        </p:scale>
        <p:origin x="1680" y="16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0" d="100"/>
        <a:sy n="12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FD5955-8B6B-A141-AD34-B4837F721F60}" type="datetimeFigureOut">
              <a:rPr lang="en-US" smtClean="0"/>
              <a:t>7/13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6EB298-290B-0F4F-8FC7-F278086C49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3384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youtube.com/watch?v=ftFAbPnNYrg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Sell me this pen - The Wolf of Wall Street (2013) </a:t>
            </a:r>
            <a:r>
              <a:rPr lang="en-US" sz="1200" dirty="0">
                <a:solidFill>
                  <a:schemeClr val="bg1"/>
                </a:solidFill>
                <a:latin typeface="Arial" pitchFamily="34" charset="0"/>
                <a:cs typeface="Arial" pitchFamily="34" charset="0"/>
                <a:hlinkClick r:id="rId3"/>
              </a:rPr>
              <a:t>https://www.youtube.com/watch?v=ftFAbPnNYrg</a:t>
            </a:r>
            <a:endParaRPr lang="en-US" sz="12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endParaRPr lang="de-CH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6E95E-57AA-4526-AA4C-3002F47FB13B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74967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9D8677-400A-5A42-B8C3-CCA77C5A01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A53470-E2D0-B740-8A09-B1CC14C4012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3C462E-E88F-EE40-9F4F-729944204A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E38EF7-C151-FA46-BBC2-3AA80E952E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2059CE-5223-C745-B62E-85E7195ACD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5169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F609F-F810-9A46-8B1E-04368B98DE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A229D22-BE41-904B-A3BE-0A9F36A1E7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0C5CBD6-C31F-8049-80F1-4AD1CE5206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7DD5B2-5B56-D046-97E9-BB1E707F44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420CB-EDF4-B44E-A280-64DDCA985B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0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AC80BAC-6268-DA4B-A5D9-D18A680532F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2B52AB1-4C39-A84B-B57B-791AEAFB001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0AE7FC-5D3A-824B-B613-CF95EE84C9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B30170-10BE-C245-A8FA-2FE46D504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E5CCA05-BB09-C443-AB99-618B0236E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67083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 TitleOnly 20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57B065B-CD14-4956-A8F5-C336BF72F02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59" name="think-cell Slide" r:id="rId5" imgW="437" imgH="437" progId="TCLayout.ActiveDocument.1">
                  <p:embed/>
                </p:oleObj>
              </mc:Choice>
              <mc:Fallback>
                <p:oleObj name="think-cell Slide" r:id="rId5" imgW="437" imgH="4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57B065B-CD14-4956-A8F5-C336BF72F0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EDE849F-1724-4060-B726-272004DDF3A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chemeClr val="accent3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939" b="1" i="0" baseline="0" dirty="0" err="1">
              <a:solidFill>
                <a:schemeClr val="bg1"/>
              </a:solidFill>
              <a:latin typeface="Lucida Sans" panose="020B0602030504020204" pitchFamily="34" charset="0"/>
              <a:ea typeface="+mj-ea"/>
              <a:cs typeface="+mj-cs"/>
              <a:sym typeface="Lucida Sans" panose="020B0602030504020204" pitchFamily="34" charset="0"/>
            </a:endParaRPr>
          </a:p>
        </p:txBody>
      </p:sp>
      <p:sp>
        <p:nvSpPr>
          <p:cNvPr id="19" name="Title 3"/>
          <p:cNvSpPr>
            <a:spLocks noGrp="1"/>
          </p:cNvSpPr>
          <p:nvPr>
            <p:ph type="title" hasCustomPrompt="1"/>
          </p:nvPr>
        </p:nvSpPr>
        <p:spPr>
          <a:xfrm>
            <a:off x="326400" y="804672"/>
            <a:ext cx="11520000" cy="298327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/>
              <a:t>Headline of maximum two lines here</a:t>
            </a:r>
          </a:p>
        </p:txBody>
      </p:sp>
    </p:spTree>
    <p:extLst>
      <p:ext uri="{BB962C8B-B14F-4D97-AF65-F5344CB8AC3E}">
        <p14:creationId xmlns:p14="http://schemas.microsoft.com/office/powerpoint/2010/main" val="18130749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9D9CF-3400-B74C-A2C7-E7FE07DFDB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688D78-7B86-8A47-856E-81F6E5A2ED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EC5B16-22F3-374C-897C-7EEA650A5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53A7F3-4E49-C940-B45B-E4644F04FC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F63719-E1CA-CE4C-A138-B47B5A11AC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95894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5A61E-CFD8-6047-8491-182CDC035E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8345E5-B2D1-5F42-91BE-0B97557A46D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F3F359-D7FE-A843-A3E8-638293FB90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D7C40D-665D-8241-BF87-9F5E44AAF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A3AD16-E90D-974D-8A0A-3C0C17E3B3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6497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0F1602-1538-7249-A77E-D65ED33F03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CE906A-F3DE-644B-B1B7-33E0A62E724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A29B31-0FFA-C140-9B19-D70F3031CAC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F54CBF5-C04E-4849-BBB3-72F75C5F30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E105D9E-1159-C04B-837C-60577C4BF3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F3761FE-B791-0644-8E52-F89D759732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8681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1323D1-EA56-9743-B8BC-3DFD6AA834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23AD94-82C0-464F-A342-47432CEE23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3328DCC-1C17-FE4F-BE75-85E6C948D7C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91D1345-8535-3D4D-95FC-12338680A9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761662-9219-5A4D-9249-9B8BA9765AF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29AC4D4-8573-384C-B675-94D2E52B37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ADA3B9A-A00E-6A4B-9C93-8561C17997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43AA61B-D551-DB4A-B8EE-127B60ADA44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4680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9C03AB-8972-BB4D-8788-4100882F57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2BCC19-9F62-BA4E-9DFD-D99095D96B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DEAA0A-59BA-C84A-B162-E1699E09405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BE3E9A-05BF-D94E-9BA1-C574CBCD0A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7674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888CA8-1ACC-3444-830D-C82448BB64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27BAA8A-2025-8447-93C5-CD16E643E1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863ABCF-50A9-AB4B-8142-4E527F065B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576955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7F82E7-58B9-5043-AC53-3062B1C27A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53F101-6D92-9348-80B7-1B7AF0BC1C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9628B31-07B7-1C40-AD2D-01441F2354B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B46794A-65E6-BF4F-B786-B02B81CA0E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3A8114-8738-3E4B-96F1-8C3B31C8B5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544DC2-4674-9041-A852-66AFA85532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107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EBE16-CE40-7C4E-B998-027814E075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EBAA7CB-AAC4-8746-A470-992F9FB166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B9719E-651A-C742-9F6B-DBB00BA733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817B321-82B5-0B4B-8750-4F44CB8642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01B811-E917-254E-A50A-1A68F808A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4BBF4A-E39D-964F-AFB2-707BA95D86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6815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F276C4-324A-3940-9B5B-826C6B1EC5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5A0C552-56E5-F340-96DB-EB3C9C7D246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D5190D-ED8F-F543-BA50-2AAF3E7EEAD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BE26A3-98FD-5742-AB20-0A5A4C74191A}" type="datetimeFigureOut">
              <a:rPr lang="en-US" smtClean="0"/>
              <a:t>7/13/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C119FA-3035-9A4E-8C94-717D755B70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D732464-A41C-0648-B71D-F07597DF45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97D287-9E30-954D-AE8E-2FE0A60295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3606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12.xml"/><Relationship Id="rId5" Type="http://schemas.openxmlformats.org/officeDocument/2006/relationships/video" Target="../media/media1.mp4"/><Relationship Id="rId10" Type="http://schemas.openxmlformats.org/officeDocument/2006/relationships/image" Target="../media/image3.png"/><Relationship Id="rId4" Type="http://schemas.microsoft.com/office/2007/relationships/media" Target="../media/media1.mp4"/><Relationship Id="rId9" Type="http://schemas.openxmlformats.org/officeDocument/2006/relationships/image" Target="../media/image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39EA9C39-5165-4437-AA42-026094EC508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99" name="think-cell Slide" r:id="rId8" imgW="487" imgH="487" progId="TCLayout.ActiveDocument.1">
                  <p:embed/>
                </p:oleObj>
              </mc:Choice>
              <mc:Fallback>
                <p:oleObj name="think-cell Slide" r:id="rId8" imgW="487" imgH="48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39EA9C39-5165-4437-AA42-026094EC5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BABA29D-92A5-4BC0-9C20-138CEFD320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/>
            <a:endParaRPr lang="en-US" sz="1939" b="1" dirty="0" err="1">
              <a:solidFill>
                <a:schemeClr val="tx1"/>
              </a:solidFill>
              <a:latin typeface="Lucida Sans" panose="020B0602030504020204" pitchFamily="34" charset="0"/>
              <a:ea typeface="+mj-ea"/>
              <a:cs typeface="+mj-cs"/>
              <a:sym typeface="Lucida Sans" panose="020B0602030504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88CFF87-4E8E-4460-B09F-5AAEB8C9A93B}"/>
              </a:ext>
            </a:extLst>
          </p:cNvPr>
          <p:cNvSpPr/>
          <p:nvPr/>
        </p:nvSpPr>
        <p:spPr>
          <a:xfrm>
            <a:off x="91" y="-19709"/>
            <a:ext cx="12191821" cy="6877710"/>
          </a:xfrm>
          <a:prstGeom prst="rect">
            <a:avLst/>
          </a:prstGeom>
          <a:solidFill>
            <a:schemeClr val="tx1"/>
          </a:solidFill>
          <a:ln w="6350" cap="flat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152" tIns="73152" rIns="73152" bIns="73152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ts val="900"/>
              </a:spcBef>
            </a:pPr>
            <a:endParaRPr lang="de-CH" sz="1400" dirty="0" err="1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Sell me this pen both scenes  The Wolf of Wall Street (2013) 1080 x 1920">
            <a:hlinkClick r:id="" action="ppaction://media"/>
            <a:extLst>
              <a:ext uri="{FF2B5EF4-FFF2-40B4-BE49-F238E27FC236}">
                <a16:creationId xmlns:a16="http://schemas.microsoft.com/office/drawing/2014/main" id="{CC1FD944-5B55-43A7-89A3-6EECFAFA7672}"/>
              </a:ext>
            </a:extLst>
          </p:cNvPr>
          <p:cNvPicPr>
            <a:picLocks noChangeAspect="1"/>
          </p:cNvPicPr>
          <p:nvPr>
            <a:videoFile r:link="rId5"/>
            <p:extLst>
              <p:ext uri="{DAA4B4D4-6D71-4841-9C94-3DE7FCFB9230}">
                <p14:media xmlns:p14="http://schemas.microsoft.com/office/powerpoint/2010/main" r:embed="rId4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764611" y="429233"/>
            <a:ext cx="10662781" cy="59979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6410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37834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0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0"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jdASceRz6dSFFyk8fz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Gmp3Z5QWiBHz5czHcwmg"/>
</p:tagLst>
</file>

<file path=ppt/theme/theme1.xml><?xml version="1.0" encoding="utf-8"?>
<a:theme xmlns:a="http://schemas.openxmlformats.org/drawingml/2006/main" name="Office Theme">
  <a:themeElements>
    <a:clrScheme name="Custom 1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709</TotalTime>
  <Words>27</Words>
  <Application>Microsoft Macintosh PowerPoint</Application>
  <PresentationFormat>Widescreen</PresentationFormat>
  <Paragraphs>2</Paragraphs>
  <Slides>1</Slides>
  <Notes>1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Lucida Sans</vt:lpstr>
      <vt:lpstr>Office Theme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s Kemme</dc:creator>
  <cp:lastModifiedBy>Bas Kemme</cp:lastModifiedBy>
  <cp:revision>28</cp:revision>
  <dcterms:created xsi:type="dcterms:W3CDTF">2020-01-23T14:04:02Z</dcterms:created>
  <dcterms:modified xsi:type="dcterms:W3CDTF">2020-07-13T20:28:05Z</dcterms:modified>
</cp:coreProperties>
</file>